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slides/slide33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141.xml" ContentType="application/vnd.openxmlformats-officedocument.presentationml.tags+xml"/>
  <Override PartName="/ppt/notesSlides/notesSlide33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468" r:id="rId36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openxmlformats.org/officeDocument/2006/relationships/slide" Target="/ppt/slides/slide33.xml" Id="rId36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7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33.xml.rels>&#65279;<?xml version="1.0" encoding="utf-8"?><Relationships xmlns="http://schemas.openxmlformats.org/package/2006/relationships"><Relationship Type="http://schemas.openxmlformats.org/officeDocument/2006/relationships/slide" Target="/ppt/slides/slide33.xml" Id="rId2" /><Relationship Type="http://schemas.openxmlformats.org/officeDocument/2006/relationships/notesMaster" Target="/ppt/notesMasters/notesMaster1.xml" Id="rId1" /></Relationship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0232925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33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141.xml" Id="rId2" /><Relationship Type="http://schemas.openxmlformats.org/officeDocument/2006/relationships/vmlDrawing" Target="/ppt/drawings/vmlDrawing37.vml" Id="rId1" /><Relationship Type="http://schemas.openxmlformats.org/officeDocument/2006/relationships/image" Target="/ppt/media/image4.emf" Id="rId6" /><Relationship Type="http://schemas.openxmlformats.org/officeDocument/2006/relationships/oleObject" Target="/ppt/embeddings/oleObject37.bin" Id="rId5" /><Relationship Type="http://schemas.openxmlformats.org/officeDocument/2006/relationships/notesSlide" Target="/ppt/notesSlides/notesSlide33.xml" Id="rId4" /></Relationships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08173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8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3D pyramid with four layers</a:t>
            </a:r>
          </a:p>
        </p:txBody>
      </p:sp>
      <p:grpSp>
        <p:nvGrpSpPr>
          <p:cNvPr id="2" name="Gruppieren 69">
            <a:extLst>
              <a:ext uri="{FF2B5EF4-FFF2-40B4-BE49-F238E27FC236}">
                <a16:creationId xmlns:a16="http://schemas.microsoft.com/office/drawing/2014/main" id="{B3B9CED3-02B6-545D-27F3-773AE9DD0A28}"/>
              </a:ext>
            </a:extLst>
          </p:cNvPr>
          <p:cNvGrpSpPr>
            <a:grpSpLocks/>
          </p:cNvGrpSpPr>
          <p:nvPr/>
        </p:nvGrpSpPr>
        <p:grpSpPr>
          <a:xfrm>
            <a:off x="3407776" y="3676259"/>
            <a:ext cx="4915486" cy="2381641"/>
            <a:chOff x="3212527" y="3521326"/>
            <a:chExt cx="5307335" cy="2571499"/>
          </a:xfrm>
        </p:grpSpPr>
        <p:sp>
          <p:nvSpPr>
            <p:cNvPr id="3" name="Freihandform: Form 53">
              <a:extLst>
                <a:ext uri="{FF2B5EF4-FFF2-40B4-BE49-F238E27FC236}">
                  <a16:creationId xmlns:a16="http://schemas.microsoft.com/office/drawing/2014/main" id="{719D5CBE-DEDD-7C6E-3C76-1ECE120B27BE}"/>
                </a:ext>
              </a:extLst>
            </p:cNvPr>
            <p:cNvSpPr>
              <a:spLocks/>
            </p:cNvSpPr>
            <p:nvPr/>
          </p:nvSpPr>
          <p:spPr>
            <a:xfrm>
              <a:off x="3848307" y="3521326"/>
              <a:ext cx="2017877" cy="1408506"/>
            </a:xfrm>
            <a:custGeom>
              <a:avLst/>
              <a:gdLst>
                <a:gd name="connsiteX0" fmla="*/ 196501 w 196500"/>
                <a:gd name="connsiteY0" fmla="*/ 0 h 137160"/>
                <a:gd name="connsiteX1" fmla="*/ 196501 w 196500"/>
                <a:gd name="connsiteY1" fmla="*/ 137160 h 137160"/>
                <a:gd name="connsiteX2" fmla="*/ 0 w 196500"/>
                <a:gd name="connsiteY2" fmla="*/ 68580 h 137160"/>
                <a:gd name="connsiteX3" fmla="*/ 196501 w 196500"/>
                <a:gd name="connsiteY3" fmla="*/ 0 h 137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6500" h="137160">
                  <a:moveTo>
                    <a:pt x="196501" y="0"/>
                  </a:moveTo>
                  <a:lnTo>
                    <a:pt x="196501" y="137160"/>
                  </a:lnTo>
                  <a:lnTo>
                    <a:pt x="0" y="68580"/>
                  </a:lnTo>
                  <a:lnTo>
                    <a:pt x="196501" y="0"/>
                  </a:ln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 w="6350" cap="flat">
              <a:solidFill>
                <a:srgbClr val="545959"/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4" name="Freihandform: Form 54">
              <a:extLst>
                <a:ext uri="{FF2B5EF4-FFF2-40B4-BE49-F238E27FC236}">
                  <a16:creationId xmlns:a16="http://schemas.microsoft.com/office/drawing/2014/main" id="{DE146E96-B022-8039-4CED-21C0B1681B1B}"/>
                </a:ext>
              </a:extLst>
            </p:cNvPr>
            <p:cNvSpPr>
              <a:spLocks/>
            </p:cNvSpPr>
            <p:nvPr/>
          </p:nvSpPr>
          <p:spPr>
            <a:xfrm>
              <a:off x="5866194" y="3521326"/>
              <a:ext cx="2017877" cy="1408506"/>
            </a:xfrm>
            <a:custGeom>
              <a:avLst/>
              <a:gdLst>
                <a:gd name="connsiteX0" fmla="*/ 0 w 196500"/>
                <a:gd name="connsiteY0" fmla="*/ 0 h 137160"/>
                <a:gd name="connsiteX1" fmla="*/ 0 w 196500"/>
                <a:gd name="connsiteY1" fmla="*/ 137160 h 137160"/>
                <a:gd name="connsiteX2" fmla="*/ 196501 w 196500"/>
                <a:gd name="connsiteY2" fmla="*/ 68580 h 137160"/>
                <a:gd name="connsiteX3" fmla="*/ 0 w 196500"/>
                <a:gd name="connsiteY3" fmla="*/ 0 h 137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6500" h="137160">
                  <a:moveTo>
                    <a:pt x="0" y="0"/>
                  </a:moveTo>
                  <a:lnTo>
                    <a:pt x="0" y="137160"/>
                  </a:lnTo>
                  <a:lnTo>
                    <a:pt x="196501" y="6858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 w="6350" cap="flat">
              <a:solidFill>
                <a:srgbClr val="545959"/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6" name="Freihandform: Form 64">
              <a:extLst>
                <a:ext uri="{FF2B5EF4-FFF2-40B4-BE49-F238E27FC236}">
                  <a16:creationId xmlns:a16="http://schemas.microsoft.com/office/drawing/2014/main" id="{7F06BA12-936C-7A14-28DC-E361C776CACF}"/>
                </a:ext>
              </a:extLst>
            </p:cNvPr>
            <p:cNvSpPr>
              <a:spLocks/>
            </p:cNvSpPr>
            <p:nvPr/>
          </p:nvSpPr>
          <p:spPr>
            <a:xfrm>
              <a:off x="3212527" y="4225579"/>
              <a:ext cx="2653668" cy="1867246"/>
            </a:xfrm>
            <a:custGeom>
              <a:avLst/>
              <a:gdLst>
                <a:gd name="connsiteX0" fmla="*/ 61913 w 258413"/>
                <a:gd name="connsiteY0" fmla="*/ 0 h 181832"/>
                <a:gd name="connsiteX1" fmla="*/ 258413 w 258413"/>
                <a:gd name="connsiteY1" fmla="*/ 68580 h 181832"/>
                <a:gd name="connsiteX2" fmla="*/ 258413 w 258413"/>
                <a:gd name="connsiteY2" fmla="*/ 181832 h 181832"/>
                <a:gd name="connsiteX3" fmla="*/ 0 w 258413"/>
                <a:gd name="connsiteY3" fmla="*/ 91726 h 181832"/>
                <a:gd name="connsiteX4" fmla="*/ 2762 w 258413"/>
                <a:gd name="connsiteY4" fmla="*/ 87630 h 181832"/>
                <a:gd name="connsiteX5" fmla="*/ 61913 w 258413"/>
                <a:gd name="connsiteY5" fmla="*/ 0 h 1818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8413" h="181832">
                  <a:moveTo>
                    <a:pt x="61913" y="0"/>
                  </a:moveTo>
                  <a:lnTo>
                    <a:pt x="258413" y="68580"/>
                  </a:lnTo>
                  <a:lnTo>
                    <a:pt x="258413" y="181832"/>
                  </a:lnTo>
                  <a:lnTo>
                    <a:pt x="0" y="91726"/>
                  </a:lnTo>
                  <a:lnTo>
                    <a:pt x="2762" y="87630"/>
                  </a:lnTo>
                  <a:lnTo>
                    <a:pt x="61913" y="0"/>
                  </a:lnTo>
                  <a:close/>
                </a:path>
              </a:pathLst>
            </a:custGeom>
            <a:solidFill>
              <a:schemeClr val="accent6"/>
            </a:solidFill>
            <a:ln w="6350" cap="flat">
              <a:solidFill>
                <a:srgbClr val="707777"/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7" name="Freihandform: Form 68">
              <a:extLst>
                <a:ext uri="{FF2B5EF4-FFF2-40B4-BE49-F238E27FC236}">
                  <a16:creationId xmlns:a16="http://schemas.microsoft.com/office/drawing/2014/main" id="{9B87279E-0B00-5E7C-81E3-C77E019BC157}"/>
                </a:ext>
              </a:extLst>
            </p:cNvPr>
            <p:cNvSpPr>
              <a:spLocks/>
            </p:cNvSpPr>
            <p:nvPr/>
          </p:nvSpPr>
          <p:spPr>
            <a:xfrm>
              <a:off x="5866194" y="4225579"/>
              <a:ext cx="2653668" cy="1867246"/>
            </a:xfrm>
            <a:custGeom>
              <a:avLst/>
              <a:gdLst>
                <a:gd name="connsiteX0" fmla="*/ 196501 w 258413"/>
                <a:gd name="connsiteY0" fmla="*/ 0 h 181832"/>
                <a:gd name="connsiteX1" fmla="*/ 0 w 258413"/>
                <a:gd name="connsiteY1" fmla="*/ 68580 h 181832"/>
                <a:gd name="connsiteX2" fmla="*/ 0 w 258413"/>
                <a:gd name="connsiteY2" fmla="*/ 181832 h 181832"/>
                <a:gd name="connsiteX3" fmla="*/ 258413 w 258413"/>
                <a:gd name="connsiteY3" fmla="*/ 91726 h 181832"/>
                <a:gd name="connsiteX4" fmla="*/ 255651 w 258413"/>
                <a:gd name="connsiteY4" fmla="*/ 87630 h 181832"/>
                <a:gd name="connsiteX5" fmla="*/ 196501 w 258413"/>
                <a:gd name="connsiteY5" fmla="*/ 0 h 1818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8413" h="181832">
                  <a:moveTo>
                    <a:pt x="196501" y="0"/>
                  </a:moveTo>
                  <a:lnTo>
                    <a:pt x="0" y="68580"/>
                  </a:lnTo>
                  <a:lnTo>
                    <a:pt x="0" y="181832"/>
                  </a:lnTo>
                  <a:lnTo>
                    <a:pt x="258413" y="91726"/>
                  </a:lnTo>
                  <a:lnTo>
                    <a:pt x="255651" y="87630"/>
                  </a:lnTo>
                  <a:lnTo>
                    <a:pt x="196501" y="0"/>
                  </a:lnTo>
                  <a:close/>
                </a:path>
              </a:pathLst>
            </a:custGeom>
            <a:solidFill>
              <a:schemeClr val="accent6"/>
            </a:solidFill>
            <a:ln w="6350" cap="flat">
              <a:solidFill>
                <a:srgbClr val="707777"/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</p:grpSp>
      <p:grpSp>
        <p:nvGrpSpPr>
          <p:cNvPr id="9" name="Gruppieren 70">
            <a:extLst>
              <a:ext uri="{FF2B5EF4-FFF2-40B4-BE49-F238E27FC236}">
                <a16:creationId xmlns:a16="http://schemas.microsoft.com/office/drawing/2014/main" id="{64B50CAC-BAD8-106B-BB2E-972D30BF62C3}"/>
              </a:ext>
            </a:extLst>
          </p:cNvPr>
          <p:cNvGrpSpPr>
            <a:grpSpLocks/>
          </p:cNvGrpSpPr>
          <p:nvPr/>
        </p:nvGrpSpPr>
        <p:grpSpPr>
          <a:xfrm>
            <a:off x="4048250" y="2979615"/>
            <a:ext cx="3634527" cy="1905126"/>
            <a:chOff x="3904058" y="2769147"/>
            <a:chExt cx="3924262" cy="2056998"/>
          </a:xfrm>
        </p:grpSpPr>
        <p:sp>
          <p:nvSpPr>
            <p:cNvPr id="11" name="Freihandform: Form 56">
              <a:extLst>
                <a:ext uri="{FF2B5EF4-FFF2-40B4-BE49-F238E27FC236}">
                  <a16:creationId xmlns:a16="http://schemas.microsoft.com/office/drawing/2014/main" id="{737D066E-AEF6-1FA4-6314-2822322019B2}"/>
                </a:ext>
              </a:extLst>
            </p:cNvPr>
            <p:cNvSpPr>
              <a:spLocks/>
            </p:cNvSpPr>
            <p:nvPr/>
          </p:nvSpPr>
          <p:spPr>
            <a:xfrm>
              <a:off x="4510499" y="2769147"/>
              <a:ext cx="1355685" cy="946819"/>
            </a:xfrm>
            <a:custGeom>
              <a:avLst/>
              <a:gdLst>
                <a:gd name="connsiteX0" fmla="*/ 132016 w 132016"/>
                <a:gd name="connsiteY0" fmla="*/ 0 h 92201"/>
                <a:gd name="connsiteX1" fmla="*/ 132016 w 132016"/>
                <a:gd name="connsiteY1" fmla="*/ 92202 h 92201"/>
                <a:gd name="connsiteX2" fmla="*/ 0 w 132016"/>
                <a:gd name="connsiteY2" fmla="*/ 46101 h 92201"/>
                <a:gd name="connsiteX3" fmla="*/ 132016 w 132016"/>
                <a:gd name="connsiteY3" fmla="*/ 0 h 922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2016" h="92201">
                  <a:moveTo>
                    <a:pt x="132016" y="0"/>
                  </a:moveTo>
                  <a:lnTo>
                    <a:pt x="132016" y="92202"/>
                  </a:lnTo>
                  <a:lnTo>
                    <a:pt x="0" y="46101"/>
                  </a:lnTo>
                  <a:lnTo>
                    <a:pt x="132016" y="0"/>
                  </a:ln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 w="6350" cap="flat">
              <a:solidFill>
                <a:srgbClr val="90909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ihandform: Form 57">
              <a:extLst>
                <a:ext uri="{FF2B5EF4-FFF2-40B4-BE49-F238E27FC236}">
                  <a16:creationId xmlns:a16="http://schemas.microsoft.com/office/drawing/2014/main" id="{AE0E8789-7EAF-A7DB-81A5-AF7D461EB715}"/>
                </a:ext>
              </a:extLst>
            </p:cNvPr>
            <p:cNvSpPr>
              <a:spLocks/>
            </p:cNvSpPr>
            <p:nvPr/>
          </p:nvSpPr>
          <p:spPr>
            <a:xfrm>
              <a:off x="5866194" y="2769147"/>
              <a:ext cx="1355685" cy="946819"/>
            </a:xfrm>
            <a:custGeom>
              <a:avLst/>
              <a:gdLst>
                <a:gd name="connsiteX0" fmla="*/ 0 w 132016"/>
                <a:gd name="connsiteY0" fmla="*/ 0 h 92201"/>
                <a:gd name="connsiteX1" fmla="*/ 0 w 132016"/>
                <a:gd name="connsiteY1" fmla="*/ 92202 h 92201"/>
                <a:gd name="connsiteX2" fmla="*/ 132017 w 132016"/>
                <a:gd name="connsiteY2" fmla="*/ 46101 h 92201"/>
                <a:gd name="connsiteX3" fmla="*/ 0 w 132016"/>
                <a:gd name="connsiteY3" fmla="*/ 0 h 922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2016" h="92201">
                  <a:moveTo>
                    <a:pt x="0" y="0"/>
                  </a:moveTo>
                  <a:lnTo>
                    <a:pt x="0" y="92202"/>
                  </a:lnTo>
                  <a:lnTo>
                    <a:pt x="132017" y="4610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 w="6350" cap="flat">
              <a:solidFill>
                <a:srgbClr val="90909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ihandform: Form 63">
              <a:extLst>
                <a:ext uri="{FF2B5EF4-FFF2-40B4-BE49-F238E27FC236}">
                  <a16:creationId xmlns:a16="http://schemas.microsoft.com/office/drawing/2014/main" id="{03B7E767-FB87-4DFA-2218-B57146990DD2}"/>
                </a:ext>
              </a:extLst>
            </p:cNvPr>
            <p:cNvSpPr>
              <a:spLocks/>
            </p:cNvSpPr>
            <p:nvPr/>
          </p:nvSpPr>
          <p:spPr>
            <a:xfrm>
              <a:off x="3904058" y="3242561"/>
              <a:ext cx="1962126" cy="1583584"/>
            </a:xfrm>
            <a:custGeom>
              <a:avLst/>
              <a:gdLst>
                <a:gd name="connsiteX0" fmla="*/ 191071 w 191071"/>
                <a:gd name="connsiteY0" fmla="*/ 46101 h 154209"/>
                <a:gd name="connsiteX1" fmla="*/ 191071 w 191071"/>
                <a:gd name="connsiteY1" fmla="*/ 154210 h 154209"/>
                <a:gd name="connsiteX2" fmla="*/ 0 w 191071"/>
                <a:gd name="connsiteY2" fmla="*/ 87535 h 154209"/>
                <a:gd name="connsiteX3" fmla="*/ 59055 w 191071"/>
                <a:gd name="connsiteY3" fmla="*/ 0 h 154209"/>
                <a:gd name="connsiteX4" fmla="*/ 191071 w 191071"/>
                <a:gd name="connsiteY4" fmla="*/ 46101 h 154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1071" h="154209">
                  <a:moveTo>
                    <a:pt x="191071" y="46101"/>
                  </a:moveTo>
                  <a:lnTo>
                    <a:pt x="191071" y="154210"/>
                  </a:lnTo>
                  <a:lnTo>
                    <a:pt x="0" y="87535"/>
                  </a:lnTo>
                  <a:lnTo>
                    <a:pt x="59055" y="0"/>
                  </a:lnTo>
                  <a:lnTo>
                    <a:pt x="191071" y="46101"/>
                  </a:lnTo>
                  <a:close/>
                </a:path>
              </a:pathLst>
            </a:custGeom>
            <a:solidFill>
              <a:schemeClr val="accent5"/>
            </a:solidFill>
            <a:ln w="6350" cap="flat">
              <a:solidFill>
                <a:srgbClr val="C0C0C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ihandform: Form 67">
              <a:extLst>
                <a:ext uri="{FF2B5EF4-FFF2-40B4-BE49-F238E27FC236}">
                  <a16:creationId xmlns:a16="http://schemas.microsoft.com/office/drawing/2014/main" id="{84A33247-1E48-297D-D7FB-722F58682A52}"/>
                </a:ext>
              </a:extLst>
            </p:cNvPr>
            <p:cNvSpPr>
              <a:spLocks/>
            </p:cNvSpPr>
            <p:nvPr/>
          </p:nvSpPr>
          <p:spPr>
            <a:xfrm>
              <a:off x="5866194" y="3242561"/>
              <a:ext cx="1962126" cy="1583584"/>
            </a:xfrm>
            <a:custGeom>
              <a:avLst/>
              <a:gdLst>
                <a:gd name="connsiteX0" fmla="*/ 0 w 191071"/>
                <a:gd name="connsiteY0" fmla="*/ 46101 h 154209"/>
                <a:gd name="connsiteX1" fmla="*/ 0 w 191071"/>
                <a:gd name="connsiteY1" fmla="*/ 154210 h 154209"/>
                <a:gd name="connsiteX2" fmla="*/ 191072 w 191071"/>
                <a:gd name="connsiteY2" fmla="*/ 87535 h 154209"/>
                <a:gd name="connsiteX3" fmla="*/ 132017 w 191071"/>
                <a:gd name="connsiteY3" fmla="*/ 0 h 154209"/>
                <a:gd name="connsiteX4" fmla="*/ 0 w 191071"/>
                <a:gd name="connsiteY4" fmla="*/ 46101 h 154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1071" h="154209">
                  <a:moveTo>
                    <a:pt x="0" y="46101"/>
                  </a:moveTo>
                  <a:lnTo>
                    <a:pt x="0" y="154210"/>
                  </a:lnTo>
                  <a:lnTo>
                    <a:pt x="191072" y="87535"/>
                  </a:lnTo>
                  <a:lnTo>
                    <a:pt x="132017" y="0"/>
                  </a:lnTo>
                  <a:lnTo>
                    <a:pt x="0" y="46101"/>
                  </a:lnTo>
                  <a:close/>
                </a:path>
              </a:pathLst>
            </a:custGeom>
            <a:solidFill>
              <a:schemeClr val="accent5"/>
            </a:solidFill>
            <a:ln w="6350" cap="flat">
              <a:solidFill>
                <a:srgbClr val="C0C0C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5" name="Gruppieren 71">
            <a:extLst>
              <a:ext uri="{FF2B5EF4-FFF2-40B4-BE49-F238E27FC236}">
                <a16:creationId xmlns:a16="http://schemas.microsoft.com/office/drawing/2014/main" id="{830F67FD-1F0A-A627-78D3-4E4469F41338}"/>
              </a:ext>
            </a:extLst>
          </p:cNvPr>
          <p:cNvGrpSpPr>
            <a:grpSpLocks/>
          </p:cNvGrpSpPr>
          <p:nvPr/>
        </p:nvGrpSpPr>
        <p:grpSpPr>
          <a:xfrm>
            <a:off x="4663368" y="2283874"/>
            <a:ext cx="2404290" cy="1475729"/>
            <a:chOff x="4568212" y="2017944"/>
            <a:chExt cx="2595954" cy="1593370"/>
          </a:xfrm>
        </p:grpSpPr>
        <p:sp>
          <p:nvSpPr>
            <p:cNvPr id="16" name="Freihandform: Form 59">
              <a:extLst>
                <a:ext uri="{FF2B5EF4-FFF2-40B4-BE49-F238E27FC236}">
                  <a16:creationId xmlns:a16="http://schemas.microsoft.com/office/drawing/2014/main" id="{A98090F8-3EBB-A6A9-A426-C8C96B0CA6D3}"/>
                </a:ext>
              </a:extLst>
            </p:cNvPr>
            <p:cNvSpPr>
              <a:spLocks/>
            </p:cNvSpPr>
            <p:nvPr/>
          </p:nvSpPr>
          <p:spPr>
            <a:xfrm>
              <a:off x="5174653" y="2017944"/>
              <a:ext cx="691531" cy="483191"/>
            </a:xfrm>
            <a:custGeom>
              <a:avLst/>
              <a:gdLst>
                <a:gd name="connsiteX0" fmla="*/ 67342 w 67341"/>
                <a:gd name="connsiteY0" fmla="*/ 0 h 47053"/>
                <a:gd name="connsiteX1" fmla="*/ 67342 w 67341"/>
                <a:gd name="connsiteY1" fmla="*/ 47053 h 47053"/>
                <a:gd name="connsiteX2" fmla="*/ 0 w 67341"/>
                <a:gd name="connsiteY2" fmla="*/ 23527 h 47053"/>
                <a:gd name="connsiteX3" fmla="*/ 67342 w 67341"/>
                <a:gd name="connsiteY3" fmla="*/ 0 h 470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7341" h="47053">
                  <a:moveTo>
                    <a:pt x="67342" y="0"/>
                  </a:moveTo>
                  <a:lnTo>
                    <a:pt x="67342" y="47053"/>
                  </a:lnTo>
                  <a:lnTo>
                    <a:pt x="0" y="23527"/>
                  </a:lnTo>
                  <a:lnTo>
                    <a:pt x="67342" y="0"/>
                  </a:lnTo>
                  <a:close/>
                </a:path>
              </a:pathLst>
            </a:custGeom>
            <a:solidFill>
              <a:schemeClr val="bg2">
                <a:lumMod val="90000"/>
              </a:schemeClr>
            </a:solidFill>
            <a:ln w="6350" cap="flat">
              <a:solidFill>
                <a:srgbClr val="D0CECE"/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17" name="Freihandform: Form 60">
              <a:extLst>
                <a:ext uri="{FF2B5EF4-FFF2-40B4-BE49-F238E27FC236}">
                  <a16:creationId xmlns:a16="http://schemas.microsoft.com/office/drawing/2014/main" id="{80975758-E2E2-9BB3-6A5E-F5699A4EBDFB}"/>
                </a:ext>
              </a:extLst>
            </p:cNvPr>
            <p:cNvSpPr>
              <a:spLocks/>
            </p:cNvSpPr>
            <p:nvPr/>
          </p:nvSpPr>
          <p:spPr>
            <a:xfrm>
              <a:off x="5866194" y="2017944"/>
              <a:ext cx="691531" cy="483191"/>
            </a:xfrm>
            <a:custGeom>
              <a:avLst/>
              <a:gdLst>
                <a:gd name="connsiteX0" fmla="*/ 0 w 67341"/>
                <a:gd name="connsiteY0" fmla="*/ 0 h 47053"/>
                <a:gd name="connsiteX1" fmla="*/ 0 w 67341"/>
                <a:gd name="connsiteY1" fmla="*/ 47053 h 47053"/>
                <a:gd name="connsiteX2" fmla="*/ 67342 w 67341"/>
                <a:gd name="connsiteY2" fmla="*/ 23527 h 47053"/>
                <a:gd name="connsiteX3" fmla="*/ 0 w 67341"/>
                <a:gd name="connsiteY3" fmla="*/ 0 h 470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7341" h="47053">
                  <a:moveTo>
                    <a:pt x="0" y="0"/>
                  </a:moveTo>
                  <a:lnTo>
                    <a:pt x="0" y="47053"/>
                  </a:lnTo>
                  <a:lnTo>
                    <a:pt x="67342" y="2352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>
                <a:lumMod val="90000"/>
              </a:schemeClr>
            </a:solidFill>
            <a:ln w="6350" cap="flat">
              <a:solidFill>
                <a:srgbClr val="D0CECE"/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18" name="Freihandform: Form 62">
              <a:extLst>
                <a:ext uri="{FF2B5EF4-FFF2-40B4-BE49-F238E27FC236}">
                  <a16:creationId xmlns:a16="http://schemas.microsoft.com/office/drawing/2014/main" id="{587D0DB2-7FCA-ABA1-B01E-8CA00B03D6D0}"/>
                </a:ext>
              </a:extLst>
            </p:cNvPr>
            <p:cNvSpPr>
              <a:spLocks/>
            </p:cNvSpPr>
            <p:nvPr/>
          </p:nvSpPr>
          <p:spPr>
            <a:xfrm>
              <a:off x="4568212" y="2259544"/>
              <a:ext cx="1297972" cy="1351770"/>
            </a:xfrm>
            <a:custGeom>
              <a:avLst/>
              <a:gdLst>
                <a:gd name="connsiteX0" fmla="*/ 126397 w 126396"/>
                <a:gd name="connsiteY0" fmla="*/ 23527 h 131635"/>
                <a:gd name="connsiteX1" fmla="*/ 126397 w 126396"/>
                <a:gd name="connsiteY1" fmla="*/ 131636 h 131635"/>
                <a:gd name="connsiteX2" fmla="*/ 0 w 126396"/>
                <a:gd name="connsiteY2" fmla="*/ 87535 h 131635"/>
                <a:gd name="connsiteX3" fmla="*/ 59055 w 126396"/>
                <a:gd name="connsiteY3" fmla="*/ 0 h 131635"/>
                <a:gd name="connsiteX4" fmla="*/ 126397 w 126396"/>
                <a:gd name="connsiteY4" fmla="*/ 23527 h 131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6396" h="131635">
                  <a:moveTo>
                    <a:pt x="126397" y="23527"/>
                  </a:moveTo>
                  <a:lnTo>
                    <a:pt x="126397" y="131636"/>
                  </a:lnTo>
                  <a:lnTo>
                    <a:pt x="0" y="87535"/>
                  </a:lnTo>
                  <a:lnTo>
                    <a:pt x="59055" y="0"/>
                  </a:lnTo>
                  <a:lnTo>
                    <a:pt x="126397" y="23527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rgbClr val="E7E6E6"/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19" name="Freihandform: Form 66">
              <a:extLst>
                <a:ext uri="{FF2B5EF4-FFF2-40B4-BE49-F238E27FC236}">
                  <a16:creationId xmlns:a16="http://schemas.microsoft.com/office/drawing/2014/main" id="{A6903426-02B2-EC0D-04AB-D49BFECC8D15}"/>
                </a:ext>
              </a:extLst>
            </p:cNvPr>
            <p:cNvSpPr>
              <a:spLocks/>
            </p:cNvSpPr>
            <p:nvPr/>
          </p:nvSpPr>
          <p:spPr>
            <a:xfrm>
              <a:off x="5866194" y="2259544"/>
              <a:ext cx="1297972" cy="1351770"/>
            </a:xfrm>
            <a:custGeom>
              <a:avLst/>
              <a:gdLst>
                <a:gd name="connsiteX0" fmla="*/ 0 w 126396"/>
                <a:gd name="connsiteY0" fmla="*/ 23527 h 131635"/>
                <a:gd name="connsiteX1" fmla="*/ 0 w 126396"/>
                <a:gd name="connsiteY1" fmla="*/ 131636 h 131635"/>
                <a:gd name="connsiteX2" fmla="*/ 126397 w 126396"/>
                <a:gd name="connsiteY2" fmla="*/ 87535 h 131635"/>
                <a:gd name="connsiteX3" fmla="*/ 67342 w 126396"/>
                <a:gd name="connsiteY3" fmla="*/ 0 h 131635"/>
                <a:gd name="connsiteX4" fmla="*/ 0 w 126396"/>
                <a:gd name="connsiteY4" fmla="*/ 23527 h 131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6396" h="131635">
                  <a:moveTo>
                    <a:pt x="0" y="23527"/>
                  </a:moveTo>
                  <a:lnTo>
                    <a:pt x="0" y="131636"/>
                  </a:lnTo>
                  <a:lnTo>
                    <a:pt x="126397" y="87535"/>
                  </a:lnTo>
                  <a:lnTo>
                    <a:pt x="67342" y="0"/>
                  </a:lnTo>
                  <a:lnTo>
                    <a:pt x="0" y="23527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rgbClr val="E7E6E6"/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</p:grpSp>
      <p:grpSp>
        <p:nvGrpSpPr>
          <p:cNvPr id="20" name="Gruppieren 72">
            <a:extLst>
              <a:ext uri="{FF2B5EF4-FFF2-40B4-BE49-F238E27FC236}">
                <a16:creationId xmlns:a16="http://schemas.microsoft.com/office/drawing/2014/main" id="{B2D5841B-27F1-7075-ED3D-688082F8D58D}"/>
              </a:ext>
            </a:extLst>
          </p:cNvPr>
          <p:cNvGrpSpPr>
            <a:grpSpLocks/>
          </p:cNvGrpSpPr>
          <p:nvPr/>
        </p:nvGrpSpPr>
        <p:grpSpPr>
          <a:xfrm>
            <a:off x="5277573" y="1557337"/>
            <a:ext cx="1175881" cy="1077127"/>
            <a:chOff x="5231380" y="1233489"/>
            <a:chExt cx="1269619" cy="1162993"/>
          </a:xfrm>
        </p:grpSpPr>
        <p:sp>
          <p:nvSpPr>
            <p:cNvPr id="21" name="Freihandform: Form 61">
              <a:extLst>
                <a:ext uri="{FF2B5EF4-FFF2-40B4-BE49-F238E27FC236}">
                  <a16:creationId xmlns:a16="http://schemas.microsoft.com/office/drawing/2014/main" id="{15C956EF-3EF4-75AD-2E13-803A9079FFD0}"/>
                </a:ext>
              </a:extLst>
            </p:cNvPr>
            <p:cNvSpPr>
              <a:spLocks/>
            </p:cNvSpPr>
            <p:nvPr/>
          </p:nvSpPr>
          <p:spPr>
            <a:xfrm>
              <a:off x="5231380" y="1233489"/>
              <a:ext cx="634805" cy="1162993"/>
            </a:xfrm>
            <a:custGeom>
              <a:avLst/>
              <a:gdLst>
                <a:gd name="connsiteX0" fmla="*/ 61817 w 61817"/>
                <a:gd name="connsiteY0" fmla="*/ 0 h 113252"/>
                <a:gd name="connsiteX1" fmla="*/ 61817 w 61817"/>
                <a:gd name="connsiteY1" fmla="*/ 113252 h 113252"/>
                <a:gd name="connsiteX2" fmla="*/ 0 w 61817"/>
                <a:gd name="connsiteY2" fmla="*/ 91726 h 113252"/>
                <a:gd name="connsiteX3" fmla="*/ 59055 w 61817"/>
                <a:gd name="connsiteY3" fmla="*/ 4096 h 113252"/>
                <a:gd name="connsiteX4" fmla="*/ 61817 w 61817"/>
                <a:gd name="connsiteY4" fmla="*/ 0 h 113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817" h="113252">
                  <a:moveTo>
                    <a:pt x="61817" y="0"/>
                  </a:moveTo>
                  <a:lnTo>
                    <a:pt x="61817" y="113252"/>
                  </a:lnTo>
                  <a:lnTo>
                    <a:pt x="0" y="91726"/>
                  </a:lnTo>
                  <a:lnTo>
                    <a:pt x="59055" y="4096"/>
                  </a:lnTo>
                  <a:lnTo>
                    <a:pt x="61817" y="0"/>
                  </a:ln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ihandform: Form 65">
              <a:extLst>
                <a:ext uri="{FF2B5EF4-FFF2-40B4-BE49-F238E27FC236}">
                  <a16:creationId xmlns:a16="http://schemas.microsoft.com/office/drawing/2014/main" id="{D15C678E-6824-998E-EC44-BB9625EEF2B3}"/>
                </a:ext>
              </a:extLst>
            </p:cNvPr>
            <p:cNvSpPr>
              <a:spLocks/>
            </p:cNvSpPr>
            <p:nvPr/>
          </p:nvSpPr>
          <p:spPr>
            <a:xfrm>
              <a:off x="5866194" y="1233489"/>
              <a:ext cx="634805" cy="1162993"/>
            </a:xfrm>
            <a:custGeom>
              <a:avLst/>
              <a:gdLst>
                <a:gd name="connsiteX0" fmla="*/ 0 w 61817"/>
                <a:gd name="connsiteY0" fmla="*/ 0 h 113252"/>
                <a:gd name="connsiteX1" fmla="*/ 0 w 61817"/>
                <a:gd name="connsiteY1" fmla="*/ 113252 h 113252"/>
                <a:gd name="connsiteX2" fmla="*/ 61817 w 61817"/>
                <a:gd name="connsiteY2" fmla="*/ 91726 h 113252"/>
                <a:gd name="connsiteX3" fmla="*/ 2762 w 61817"/>
                <a:gd name="connsiteY3" fmla="*/ 4096 h 113252"/>
                <a:gd name="connsiteX4" fmla="*/ 0 w 61817"/>
                <a:gd name="connsiteY4" fmla="*/ 0 h 113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817" h="113252">
                  <a:moveTo>
                    <a:pt x="0" y="0"/>
                  </a:moveTo>
                  <a:lnTo>
                    <a:pt x="0" y="113252"/>
                  </a:lnTo>
                  <a:lnTo>
                    <a:pt x="61817" y="91726"/>
                  </a:lnTo>
                  <a:lnTo>
                    <a:pt x="2762" y="409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cxnSp>
        <p:nvCxnSpPr>
          <p:cNvPr id="23" name="Gerader Verbinder 23">
            <a:extLst>
              <a:ext uri="{FF2B5EF4-FFF2-40B4-BE49-F238E27FC236}">
                <a16:creationId xmlns:a16="http://schemas.microsoft.com/office/drawing/2014/main" id="{AF48A82C-4ADE-864A-F9AF-21021C454189}"/>
              </a:ext>
            </a:extLst>
          </p:cNvPr>
          <p:cNvCxnSpPr>
            <a:cxnSpLocks/>
          </p:cNvCxnSpPr>
          <p:nvPr/>
        </p:nvCxnSpPr>
        <p:spPr>
          <a:xfrm flipH="1">
            <a:off x="403200" y="1683528"/>
            <a:ext cx="5225247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4">
            <a:extLst>
              <a:ext uri="{FF2B5EF4-FFF2-40B4-BE49-F238E27FC236}">
                <a16:creationId xmlns:a16="http://schemas.microsoft.com/office/drawing/2014/main" id="{72D2F3FA-5DEE-22EE-66B8-9D8E593D73C0}"/>
              </a:ext>
            </a:extLst>
          </p:cNvPr>
          <p:cNvCxnSpPr>
            <a:cxnSpLocks/>
          </p:cNvCxnSpPr>
          <p:nvPr/>
        </p:nvCxnSpPr>
        <p:spPr>
          <a:xfrm flipH="1">
            <a:off x="6695880" y="2581292"/>
            <a:ext cx="5124530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r Verbinder 25">
            <a:extLst>
              <a:ext uri="{FF2B5EF4-FFF2-40B4-BE49-F238E27FC236}">
                <a16:creationId xmlns:a16="http://schemas.microsoft.com/office/drawing/2014/main" id="{86DFDEDB-243A-707C-0EBD-527E41750924}"/>
              </a:ext>
            </a:extLst>
          </p:cNvPr>
          <p:cNvCxnSpPr>
            <a:cxnSpLocks/>
          </p:cNvCxnSpPr>
          <p:nvPr/>
        </p:nvCxnSpPr>
        <p:spPr>
          <a:xfrm flipH="1">
            <a:off x="7922103" y="4376819"/>
            <a:ext cx="3898307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6">
            <a:extLst>
              <a:ext uri="{FF2B5EF4-FFF2-40B4-BE49-F238E27FC236}">
                <a16:creationId xmlns:a16="http://schemas.microsoft.com/office/drawing/2014/main" id="{A63D99C0-34AF-B9F9-E407-313AC591F8D5}"/>
              </a:ext>
            </a:extLst>
          </p:cNvPr>
          <p:cNvCxnSpPr>
            <a:cxnSpLocks/>
          </p:cNvCxnSpPr>
          <p:nvPr/>
        </p:nvCxnSpPr>
        <p:spPr>
          <a:xfrm flipH="1">
            <a:off x="407988" y="3479056"/>
            <a:ext cx="3976592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platzhalter 9">
            <a:extLst>
              <a:ext uri="{FF2B5EF4-FFF2-40B4-BE49-F238E27FC236}">
                <a16:creationId xmlns:a16="http://schemas.microsoft.com/office/drawing/2014/main" id="{C2CCEED6-6ADB-9AE3-B796-81E4B6C61B68}"/>
              </a:ext>
            </a:extLst>
          </p:cNvPr>
          <p:cNvSpPr txBox="1">
            <a:spLocks/>
          </p:cNvSpPr>
          <p:nvPr/>
        </p:nvSpPr>
        <p:spPr bwMode="gray">
          <a:xfrm>
            <a:off x="8712119" y="2703620"/>
            <a:ext cx="3108405" cy="1092607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2400">
                <a:solidFill>
                  <a:schemeClr val="tx2"/>
                </a:solidFill>
              </a:rPr>
              <a:t>Lorem ipsum</a:t>
            </a:r>
          </a:p>
          <a:p>
            <a:pPr marL="228600" indent="-22860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r>
              <a:rPr lang="en-US" sz="1400"/>
              <a:t> </a:t>
            </a:r>
          </a:p>
          <a:p>
            <a:pPr marL="228600" indent="-22860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400"/>
              <a:t>Quis </a:t>
            </a:r>
            <a:r>
              <a:rPr lang="en-US" sz="1400" err="1"/>
              <a:t>nostrud</a:t>
            </a:r>
            <a:r>
              <a:rPr lang="en-US" sz="1400"/>
              <a:t> exercitation </a:t>
            </a:r>
            <a:r>
              <a:rPr lang="en-US" sz="1400" err="1"/>
              <a:t>ullamco</a:t>
            </a:r>
            <a:endParaRPr lang="en-US" sz="1400"/>
          </a:p>
        </p:txBody>
      </p:sp>
      <p:sp>
        <p:nvSpPr>
          <p:cNvPr id="28" name="Textplatzhalter 9">
            <a:extLst>
              <a:ext uri="{FF2B5EF4-FFF2-40B4-BE49-F238E27FC236}">
                <a16:creationId xmlns:a16="http://schemas.microsoft.com/office/drawing/2014/main" id="{552C5D86-1E10-E8AA-C9E3-4C5957005584}"/>
              </a:ext>
            </a:extLst>
          </p:cNvPr>
          <p:cNvSpPr txBox="1">
            <a:spLocks/>
          </p:cNvSpPr>
          <p:nvPr/>
        </p:nvSpPr>
        <p:spPr bwMode="gray">
          <a:xfrm>
            <a:off x="8712119" y="4499148"/>
            <a:ext cx="3108405" cy="1092607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2400">
                <a:solidFill>
                  <a:schemeClr val="tx2"/>
                </a:solidFill>
              </a:rPr>
              <a:t>Lorem ipsum</a:t>
            </a:r>
          </a:p>
          <a:p>
            <a:pPr marL="228600" indent="-22860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r>
              <a:rPr lang="en-US" sz="1400"/>
              <a:t> </a:t>
            </a:r>
          </a:p>
          <a:p>
            <a:pPr marL="228600" indent="-22860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400"/>
              <a:t>Quis </a:t>
            </a:r>
            <a:r>
              <a:rPr lang="en-US" sz="1400" err="1"/>
              <a:t>nostrud</a:t>
            </a:r>
            <a:r>
              <a:rPr lang="en-US" sz="1400"/>
              <a:t> exercitation </a:t>
            </a:r>
            <a:r>
              <a:rPr lang="en-US" sz="1400" err="1"/>
              <a:t>ullamco</a:t>
            </a:r>
            <a:endParaRPr lang="en-US" sz="1400"/>
          </a:p>
        </p:txBody>
      </p:sp>
      <p:sp>
        <p:nvSpPr>
          <p:cNvPr id="29" name="Textplatzhalter 9">
            <a:extLst>
              <a:ext uri="{FF2B5EF4-FFF2-40B4-BE49-F238E27FC236}">
                <a16:creationId xmlns:a16="http://schemas.microsoft.com/office/drawing/2014/main" id="{994F9BB6-F270-DBDC-3EFB-1E3E92488B29}"/>
              </a:ext>
            </a:extLst>
          </p:cNvPr>
          <p:cNvSpPr txBox="1">
            <a:spLocks/>
          </p:cNvSpPr>
          <p:nvPr/>
        </p:nvSpPr>
        <p:spPr bwMode="gray">
          <a:xfrm>
            <a:off x="420844" y="1805857"/>
            <a:ext cx="3075211" cy="1092607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2400">
                <a:solidFill>
                  <a:schemeClr val="tx2"/>
                </a:solidFill>
              </a:rPr>
              <a:t>Lorem ipsum</a:t>
            </a:r>
          </a:p>
          <a:p>
            <a:pPr marL="228600" indent="-22860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r>
              <a:rPr lang="en-US" sz="1400"/>
              <a:t> </a:t>
            </a:r>
          </a:p>
          <a:p>
            <a:pPr marL="228600" indent="-22860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400"/>
              <a:t>Quis </a:t>
            </a:r>
            <a:r>
              <a:rPr lang="en-US" sz="1400" err="1"/>
              <a:t>nostrud</a:t>
            </a:r>
            <a:r>
              <a:rPr lang="en-US" sz="1400"/>
              <a:t> exercitation </a:t>
            </a:r>
            <a:r>
              <a:rPr lang="en-US" sz="1400" err="1"/>
              <a:t>ullamco</a:t>
            </a:r>
            <a:endParaRPr lang="en-US" sz="1400"/>
          </a:p>
        </p:txBody>
      </p:sp>
      <p:sp>
        <p:nvSpPr>
          <p:cNvPr id="30" name="Textplatzhalter 9">
            <a:extLst>
              <a:ext uri="{FF2B5EF4-FFF2-40B4-BE49-F238E27FC236}">
                <a16:creationId xmlns:a16="http://schemas.microsoft.com/office/drawing/2014/main" id="{FF222D9C-647A-2638-38F9-8F8AD4006569}"/>
              </a:ext>
            </a:extLst>
          </p:cNvPr>
          <p:cNvSpPr txBox="1">
            <a:spLocks/>
          </p:cNvSpPr>
          <p:nvPr/>
        </p:nvSpPr>
        <p:spPr bwMode="gray">
          <a:xfrm>
            <a:off x="403200" y="3601384"/>
            <a:ext cx="3075211" cy="1092607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2400">
                <a:solidFill>
                  <a:schemeClr val="tx2"/>
                </a:solidFill>
              </a:rPr>
              <a:t>Lorem ipsum</a:t>
            </a:r>
          </a:p>
          <a:p>
            <a:pPr marL="228600" indent="-22860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r>
              <a:rPr lang="en-US" sz="1400"/>
              <a:t> </a:t>
            </a:r>
          </a:p>
          <a:p>
            <a:pPr marL="228600" indent="-22860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400"/>
              <a:t>Quis </a:t>
            </a:r>
            <a:r>
              <a:rPr lang="en-US" sz="1400" err="1"/>
              <a:t>nostrud</a:t>
            </a:r>
            <a:r>
              <a:rPr lang="en-US" sz="1400"/>
              <a:t> exercitation </a:t>
            </a:r>
            <a:r>
              <a:rPr lang="en-US" sz="1400" err="1"/>
              <a:t>ullamco</a:t>
            </a:r>
            <a:endParaRPr lang="en-US" sz="1400"/>
          </a:p>
        </p:txBody>
      </p:sp>
      <p:sp>
        <p:nvSpPr>
          <p:cNvPr id="8" name="Text Placeholder 15">
            <a:extLst>
              <a:ext uri="{FF2B5EF4-FFF2-40B4-BE49-F238E27FC236}">
                <a16:creationId xmlns:a16="http://schemas.microsoft.com/office/drawing/2014/main" id="{F6983817-6DAD-1EE2-82B3-926E4F36406F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1498808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</a:t>
            </a:r>
            <a:r>
              <a:rPr lang="en-US" sz="1000">
                <a:solidFill>
                  <a:schemeClr val="tx2"/>
                </a:solidFill>
              </a:rPr>
              <a:t> pyramids, layer</a:t>
            </a:r>
          </a:p>
        </p:txBody>
      </p:sp>
    </p:spTree>
    <p:extLst>
      <p:ext uri="{BB962C8B-B14F-4D97-AF65-F5344CB8AC3E}">
        <p14:creationId xmlns:p14="http://schemas.microsoft.com/office/powerpoint/2010/main" val="27530035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